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209186A5-6FE7-43FC-850B-31031F05B133}">
          <p14:sldIdLst>
            <p14:sldId id="2147475173"/>
            <p14:sldId id="2147475174"/>
            <p14:sldId id="2147475175"/>
            <p14:sldId id="2147475176"/>
            <p14:sldId id="2147475177"/>
            <p14:sldId id="2147475178"/>
            <p14:sldId id="2147475179"/>
            <p14:sldId id="2147475180"/>
            <p14:sldId id="2147475181"/>
          </p14:sldIdLst>
        </p14:section>
        <p14:section name="Brackets By Segment" id="{E5AC042D-E953-4678-8DD6-E0FFB63A1946}">
          <p14:sldIdLst>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8" d="100"/>
          <a:sy n="48" d="100"/>
        </p:scale>
        <p:origin x="726" y="36"/>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7509944382378571</c:v>
                </c:pt>
                <c:pt idx="2">
                  <c:v>0.016046064058958684</c:v>
                </c:pt>
                <c:pt idx="3">
                  <c:v>0.010641298612094738</c:v>
                </c:pt>
                <c:pt idx="4">
                  <c:v>0.023373053104948964</c:v>
                </c:pt>
                <c:pt idx="5">
                  <c:v>0.01205612072226776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644989121223041</c:v>
                </c:pt>
                <c:pt idx="3">
                  <c:v>0.0017075224275874532</c:v>
                </c:pt>
                <c:pt idx="4">
                  <c:v>0.005932868068141562</c:v>
                </c:pt>
                <c:pt idx="5">
                  <c:v>0.002759016441828589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606099671816134</c:v>
                </c:pt>
                <c:pt idx="2">
                  <c:v>0.0035367483066289116</c:v>
                </c:pt>
                <c:pt idx="3">
                  <c:v>0.026957138920939337</c:v>
                </c:pt>
                <c:pt idx="4">
                  <c:v>0.04747520323143622</c:v>
                </c:pt>
                <c:pt idx="5">
                  <c:v>0.00539665781743499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0771929562726078</c:v>
                </c:pt>
                <c:pt idx="2">
                  <c:v>0.01345451649635398</c:v>
                </c:pt>
                <c:pt idx="3">
                  <c:v>0.015542531161557366</c:v>
                </c:pt>
                <c:pt idx="4">
                  <c:v>0.05210322029704176</c:v>
                </c:pt>
                <c:pt idx="5">
                  <c:v>0.0535399311544413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331428128098402</c:v>
                </c:pt>
                <c:pt idx="1">
                  <c:v>0.010406252091056152</c:v>
                </c:pt>
                <c:pt idx="2">
                  <c:v>0.03314229135518693</c:v>
                </c:pt>
                <c:pt idx="3">
                  <c:v>0.07441776225968975</c:v>
                </c:pt>
                <c:pt idx="4">
                  <c:v>0.03182103485416987</c:v>
                </c:pt>
                <c:pt idx="5">
                  <c:v>0.00161475777998203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80253557826799</c:v>
                </c:pt>
                <c:pt idx="3">
                  <c:v>0.019028149643200154</c:v>
                </c:pt>
                <c:pt idx="4">
                  <c:v>0.061196510411825826</c:v>
                </c:pt>
                <c:pt idx="5">
                  <c:v>0.0164096828523539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6501649426089343</c:v>
                </c:pt>
                <c:pt idx="4">
                  <c:v>0.018905904028114293</c:v>
                </c:pt>
                <c:pt idx="5">
                  <c:v>0.001546422266727503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3273946682750953</c:v>
                </c:pt>
                <c:pt idx="2">
                  <c:v>0.01691058974486465</c:v>
                </c:pt>
                <c:pt idx="3">
                  <c:v>0.009943216686776312</c:v>
                </c:pt>
                <c:pt idx="4">
                  <c:v>0.02074769023275164</c:v>
                </c:pt>
                <c:pt idx="5">
                  <c:v>0.0169509433726207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129154532006021</c:v>
                </c:pt>
                <c:pt idx="3">
                  <c:v>0.001504742631272532</c:v>
                </c:pt>
                <c:pt idx="4">
                  <c:v>0.005590410653775849</c:v>
                </c:pt>
                <c:pt idx="5">
                  <c:v>0.00411571560779613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3735036368468147</c:v>
                </c:pt>
                <c:pt idx="2">
                  <c:v>0.004170661023724595</c:v>
                </c:pt>
                <c:pt idx="3">
                  <c:v>0.0238201779171636</c:v>
                </c:pt>
                <c:pt idx="4">
                  <c:v>0.05427767665756227</c:v>
                </c:pt>
                <c:pt idx="5">
                  <c:v>0.0053911986095205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07055792695932128</c:v>
                </c:pt>
                <c:pt idx="5">
                  <c:v>0.0005872541424461909</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817300093635132</c:v>
                </c:pt>
                <c:pt idx="2">
                  <c:v>0.014415041177355759</c:v>
                </c:pt>
                <c:pt idx="3">
                  <c:v>0.017919810178050725</c:v>
                </c:pt>
                <c:pt idx="4">
                  <c:v>0.06915555223889361</c:v>
                </c:pt>
                <c:pt idx="5">
                  <c:v>0.0538085728805287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983468920060802</c:v>
                </c:pt>
                <c:pt idx="1">
                  <c:v>0.007387449635495408</c:v>
                </c:pt>
                <c:pt idx="2">
                  <c:v>0.031528225504342866</c:v>
                </c:pt>
                <c:pt idx="3">
                  <c:v>0.08004697219762526</c:v>
                </c:pt>
                <c:pt idx="4">
                  <c:v>0.03723117781516073</c:v>
                </c:pt>
                <c:pt idx="5">
                  <c:v>0.002227632295643478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695392693924818</c:v>
                </c:pt>
                <c:pt idx="1">
                  <c:v>0.024931777694205192</c:v>
                </c:pt>
                <c:pt idx="2">
                  <c:v>0.07684228052777275</c:v>
                </c:pt>
                <c:pt idx="3">
                  <c:v>0.14832756593069152</c:v>
                </c:pt>
                <c:pt idx="4">
                  <c:v>0.261009489680587</c:v>
                </c:pt>
                <c:pt idx="5">
                  <c:v>0.102364672852913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9723392557594333</c:v>
                </c:pt>
                <c:pt idx="3">
                  <c:v>0.015956414358128466</c:v>
                </c:pt>
                <c:pt idx="4">
                  <c:v>0.06184835417177145</c:v>
                </c:pt>
                <c:pt idx="5">
                  <c:v>0.02134591353227923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640974592947153</c:v>
                </c:pt>
                <c:pt idx="4">
                  <c:v>0.017749038564447334</c:v>
                </c:pt>
                <c:pt idx="5">
                  <c:v>0.00264041216232077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612531659282514</c:v>
                </c:pt>
                <c:pt idx="1">
                  <c:v>0.009144575977012723</c:v>
                </c:pt>
                <c:pt idx="2">
                  <c:v>0.0021622901898100673</c:v>
                </c:pt>
                <c:pt idx="3">
                  <c:v>0.014983277323218287</c:v>
                </c:pt>
                <c:pt idx="4">
                  <c:v>0.026652613209967556</c:v>
                </c:pt>
                <c:pt idx="5">
                  <c:v>0.000823457692681008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129154532006021</c:v>
                </c:pt>
                <c:pt idx="3">
                  <c:v>0.001504742631272532</c:v>
                </c:pt>
                <c:pt idx="4">
                  <c:v>0.006295989923369062</c:v>
                </c:pt>
                <c:pt idx="5">
                  <c:v>0.0047029697502423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5358993245097792</c:v>
                </c:pt>
                <c:pt idx="2">
                  <c:v>0.010553526322958896</c:v>
                </c:pt>
                <c:pt idx="3">
                  <c:v>0.010402256525732049</c:v>
                </c:pt>
                <c:pt idx="4">
                  <c:v>0.017894596242678102</c:v>
                </c:pt>
                <c:pt idx="5">
                  <c:v>0.00988759341990411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28467978089494776</c:v>
                </c:pt>
                <c:pt idx="3">
                  <c:v>0.001832228985249577</c:v>
                </c:pt>
                <c:pt idx="4">
                  <c:v>0.0046013421991742244</c:v>
                </c:pt>
                <c:pt idx="5">
                  <c:v>0.00236709071088632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9941848042156875</c:v>
                </c:pt>
                <c:pt idx="2">
                  <c:v>0.004601124834037545</c:v>
                </c:pt>
                <c:pt idx="3">
                  <c:v>0.020866001812775516</c:v>
                </c:pt>
                <c:pt idx="4">
                  <c:v>0.037048004426264526</c:v>
                </c:pt>
                <c:pt idx="5">
                  <c:v>0.00397125394370770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7801908161162653</c:v>
                </c:pt>
                <c:pt idx="3">
                  <c:v>0.010125504534405458</c:v>
                </c:pt>
                <c:pt idx="4">
                  <c:v>0.03373808106953138</c:v>
                </c:pt>
                <c:pt idx="5">
                  <c:v>0.0346196394778291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5386423245130147</c:v>
                </c:pt>
                <c:pt idx="4">
                  <c:v>0.0006018883960866584</c:v>
                </c:pt>
                <c:pt idx="5">
                  <c:v>0.01534437589850958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88120543146747</c:v>
                </c:pt>
                <c:pt idx="1">
                  <c:v>0.00809930913013026</c:v>
                </c:pt>
                <c:pt idx="2">
                  <c:v>0.02622888489933886</c:v>
                </c:pt>
                <c:pt idx="3">
                  <c:v>0.052534333471527125</c:v>
                </c:pt>
                <c:pt idx="4">
                  <c:v>0.02245196604297683</c:v>
                </c:pt>
                <c:pt idx="5">
                  <c:v>0.001676952139865827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8387632405335855</c:v>
                </c:pt>
                <c:pt idx="3">
                  <c:v>0.013443973324453186</c:v>
                </c:pt>
                <c:pt idx="4">
                  <c:v>0.03994504696793553</c:v>
                </c:pt>
                <c:pt idx="5">
                  <c:v>0.0075656549885861814</c:v>
                </c:pt>
                <c:pt idx="6">
                  <c:v>0.0021118976473317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6457243384357988</c:v>
                </c:pt>
                <c:pt idx="4">
                  <c:v>0.012880916641283427</c:v>
                </c:pt>
                <c:pt idx="5">
                  <c:v>0.001393852518273313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11207161402717</c:v>
                </c:pt>
                <c:pt idx="2">
                  <c:v>0.0016466346757040555</c:v>
                </c:pt>
                <c:pt idx="3">
                  <c:v>0.032894324305395586</c:v>
                </c:pt>
                <c:pt idx="4">
                  <c:v>0.037100966933538135</c:v>
                </c:pt>
                <c:pt idx="5">
                  <c:v>0.001319206062756916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7509944382378571</c:v>
                </c:pt>
                <c:pt idx="2">
                  <c:v>0.016046064058958684</c:v>
                </c:pt>
                <c:pt idx="3">
                  <c:v>0.010641298612094738</c:v>
                </c:pt>
                <c:pt idx="4">
                  <c:v>0.023373053104948964</c:v>
                </c:pt>
                <c:pt idx="5">
                  <c:v>0.01205612072226776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6490751229639497</c:v>
                </c:pt>
                <c:pt idx="2">
                  <c:v>0.003840420909758176</c:v>
                </c:pt>
                <c:pt idx="3">
                  <c:v>0.00241945041960825</c:v>
                </c:pt>
                <c:pt idx="4">
                  <c:v>0.0047133033280256625</c:v>
                </c:pt>
                <c:pt idx="5">
                  <c:v>0.000938778388119468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606099671816134</c:v>
                </c:pt>
                <c:pt idx="2">
                  <c:v>0.0035367483066289116</c:v>
                </c:pt>
                <c:pt idx="3">
                  <c:v>0.026957138920939337</c:v>
                </c:pt>
                <c:pt idx="4">
                  <c:v>0.04747520323143622</c:v>
                </c:pt>
                <c:pt idx="5">
                  <c:v>0.00539665781743499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68612647561428</c:v>
                </c:pt>
                <c:pt idx="4">
                  <c:v>0.00917471257645994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0771929562726078</c:v>
                </c:pt>
                <c:pt idx="2">
                  <c:v>0.01345451649635398</c:v>
                </c:pt>
                <c:pt idx="3">
                  <c:v>0.015542531161557366</c:v>
                </c:pt>
                <c:pt idx="4">
                  <c:v>0.05210322029704176</c:v>
                </c:pt>
                <c:pt idx="5">
                  <c:v>0.0535399311544413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331428128098402</c:v>
                </c:pt>
                <c:pt idx="1">
                  <c:v>0.010406252091056152</c:v>
                </c:pt>
                <c:pt idx="2">
                  <c:v>0.03314229135518693</c:v>
                </c:pt>
                <c:pt idx="3">
                  <c:v>0.07441776225968975</c:v>
                </c:pt>
                <c:pt idx="4">
                  <c:v>0.03182103485416987</c:v>
                </c:pt>
                <c:pt idx="5">
                  <c:v>0.00161475777998203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80253557826799</c:v>
                </c:pt>
                <c:pt idx="3">
                  <c:v>0.019028149643200154</c:v>
                </c:pt>
                <c:pt idx="4">
                  <c:v>0.061196510411825826</c:v>
                </c:pt>
                <c:pt idx="5">
                  <c:v>0.0164096828523539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6501649426089343</c:v>
                </c:pt>
                <c:pt idx="4">
                  <c:v>0.018905904028114293</c:v>
                </c:pt>
                <c:pt idx="5">
                  <c:v>0.001546422266727503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3273946682750953</c:v>
                </c:pt>
                <c:pt idx="2">
                  <c:v>0.01691058974486465</c:v>
                </c:pt>
                <c:pt idx="3">
                  <c:v>0.009943216686776312</c:v>
                </c:pt>
                <c:pt idx="4">
                  <c:v>0.02074769023275164</c:v>
                </c:pt>
                <c:pt idx="5">
                  <c:v>0.0169509433726207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0812154895849335</c:v>
                </c:pt>
                <c:pt idx="2">
                  <c:v>0.0053404629914445435</c:v>
                </c:pt>
                <c:pt idx="3">
                  <c:v>0.0006635302896854183</c:v>
                </c:pt>
                <c:pt idx="4">
                  <c:v>0.006641506121779015</c:v>
                </c:pt>
                <c:pt idx="5">
                  <c:v>0.00140489488263383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3735036368468147</c:v>
                </c:pt>
                <c:pt idx="2">
                  <c:v>0.004170661023724595</c:v>
                </c:pt>
                <c:pt idx="3">
                  <c:v>0.0238201779171636</c:v>
                </c:pt>
                <c:pt idx="4">
                  <c:v>0.05427767665756227</c:v>
                </c:pt>
                <c:pt idx="5">
                  <c:v>0.0053911986095205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817300093635132</c:v>
                </c:pt>
                <c:pt idx="2">
                  <c:v>0.014415041177355759</c:v>
                </c:pt>
                <c:pt idx="3">
                  <c:v>0.017919810178050725</c:v>
                </c:pt>
                <c:pt idx="4">
                  <c:v>0.06915555223889361</c:v>
                </c:pt>
                <c:pt idx="5">
                  <c:v>0.0538085728805287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983468920060802</c:v>
                </c:pt>
                <c:pt idx="1">
                  <c:v>0.007387449635495408</c:v>
                </c:pt>
                <c:pt idx="2">
                  <c:v>0.031528225504342866</c:v>
                </c:pt>
                <c:pt idx="3">
                  <c:v>0.08004697219762526</c:v>
                </c:pt>
                <c:pt idx="4">
                  <c:v>0.03723117781516073</c:v>
                </c:pt>
                <c:pt idx="5">
                  <c:v>0.002227632295643478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9723392557594333</c:v>
                </c:pt>
                <c:pt idx="3">
                  <c:v>0.015956414358128466</c:v>
                </c:pt>
                <c:pt idx="4">
                  <c:v>0.06184835417177145</c:v>
                </c:pt>
                <c:pt idx="5">
                  <c:v>0.02134591353227923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7728267579997107</c:v>
                </c:pt>
                <c:pt idx="1">
                  <c:v>0.02181663573331592</c:v>
                </c:pt>
                <c:pt idx="2">
                  <c:v>0.07308515312233878</c:v>
                </c:pt>
                <c:pt idx="3">
                  <c:v>0.1472370455400903</c:v>
                </c:pt>
                <c:pt idx="4">
                  <c:v>0.23487492592753692</c:v>
                </c:pt>
                <c:pt idx="5">
                  <c:v>0.0905635725932075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640974592947153</c:v>
                </c:pt>
                <c:pt idx="4">
                  <c:v>0.017749038564447334</c:v>
                </c:pt>
                <c:pt idx="5">
                  <c:v>0.00264041216232077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612531659282514</c:v>
                </c:pt>
                <c:pt idx="1">
                  <c:v>0.009144575977012723</c:v>
                </c:pt>
                <c:pt idx="2">
                  <c:v>0.0021622901898100673</c:v>
                </c:pt>
                <c:pt idx="3">
                  <c:v>0.014983277323218287</c:v>
                </c:pt>
                <c:pt idx="4">
                  <c:v>0.026652613209967556</c:v>
                </c:pt>
                <c:pt idx="5">
                  <c:v>0.000823457692681008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5358993245097792</c:v>
                </c:pt>
                <c:pt idx="2">
                  <c:v>0.010553526322958896</c:v>
                </c:pt>
                <c:pt idx="3">
                  <c:v>0.010402256525732049</c:v>
                </c:pt>
                <c:pt idx="4">
                  <c:v>0.017894596242678102</c:v>
                </c:pt>
                <c:pt idx="5">
                  <c:v>0.00988759341990411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5358993245097792</c:v>
                </c:pt>
                <c:pt idx="2">
                  <c:v>0.003491020481048866</c:v>
                </c:pt>
                <c:pt idx="3">
                  <c:v>0.0015036105467993693</c:v>
                </c:pt>
                <c:pt idx="4">
                  <c:v>0.00534374856144325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9941848042156875</c:v>
                </c:pt>
                <c:pt idx="2">
                  <c:v>0.004601124834037545</c:v>
                </c:pt>
                <c:pt idx="3">
                  <c:v>0.020866001812775516</c:v>
                </c:pt>
                <c:pt idx="4">
                  <c:v>0.037048004426264526</c:v>
                </c:pt>
                <c:pt idx="5">
                  <c:v>0.00397125394370770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7801908161162653</c:v>
                </c:pt>
                <c:pt idx="3">
                  <c:v>0.010125504534405458</c:v>
                </c:pt>
                <c:pt idx="4">
                  <c:v>0.03373808106953138</c:v>
                </c:pt>
                <c:pt idx="5">
                  <c:v>0.0346196394778291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88120543146747</c:v>
                </c:pt>
                <c:pt idx="1">
                  <c:v>0.00809930913013026</c:v>
                </c:pt>
                <c:pt idx="2">
                  <c:v>0.02622888489933886</c:v>
                </c:pt>
                <c:pt idx="3">
                  <c:v>0.052534333471527125</c:v>
                </c:pt>
                <c:pt idx="4">
                  <c:v>0.02245196604297683</c:v>
                </c:pt>
                <c:pt idx="5">
                  <c:v>0.001676952139865827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8387632405335855</c:v>
                </c:pt>
                <c:pt idx="3">
                  <c:v>0.013443973324453186</c:v>
                </c:pt>
                <c:pt idx="4">
                  <c:v>0.03994504696793553</c:v>
                </c:pt>
                <c:pt idx="5">
                  <c:v>0.0075656549885861814</c:v>
                </c:pt>
                <c:pt idx="6">
                  <c:v>0.0021118976473317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6457243384357988</c:v>
                </c:pt>
                <c:pt idx="4">
                  <c:v>0.012880916641283427</c:v>
                </c:pt>
                <c:pt idx="5">
                  <c:v>0.001393852518273313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11207161402717</c:v>
                </c:pt>
                <c:pt idx="2">
                  <c:v>0.0016466346757040555</c:v>
                </c:pt>
                <c:pt idx="3">
                  <c:v>0.032894324305395586</c:v>
                </c:pt>
                <c:pt idx="4">
                  <c:v>0.037100966933538135</c:v>
                </c:pt>
                <c:pt idx="5">
                  <c:v>0.001319206062756916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7509944382378571</c:v>
                </c:pt>
                <c:pt idx="2">
                  <c:v>0.016046064058958684</c:v>
                </c:pt>
                <c:pt idx="3">
                  <c:v>0.010641298612094738</c:v>
                </c:pt>
                <c:pt idx="4">
                  <c:v>0.023373053104948964</c:v>
                </c:pt>
                <c:pt idx="5">
                  <c:v>0.01205612072226776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606099671816134</c:v>
                </c:pt>
                <c:pt idx="2">
                  <c:v>0.0035367483066289116</c:v>
                </c:pt>
                <c:pt idx="3">
                  <c:v>0.026957138920939337</c:v>
                </c:pt>
                <c:pt idx="4">
                  <c:v>0.04747520323143622</c:v>
                </c:pt>
                <c:pt idx="5">
                  <c:v>0.00539665781743499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7289708839215065</c:v>
                </c:pt>
                <c:pt idx="4">
                  <c:v>0.005882119108283293</c:v>
                </c:pt>
                <c:pt idx="5">
                  <c:v>0.001379109669546963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0771929562726078</c:v>
                </c:pt>
                <c:pt idx="2">
                  <c:v>0.01345451649635398</c:v>
                </c:pt>
                <c:pt idx="3">
                  <c:v>0.015542531161557366</c:v>
                </c:pt>
                <c:pt idx="4">
                  <c:v>0.05210322029704176</c:v>
                </c:pt>
                <c:pt idx="5">
                  <c:v>0.0535399311544413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1526833116514079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331428128098402</c:v>
                </c:pt>
                <c:pt idx="1">
                  <c:v>0.010406252091056152</c:v>
                </c:pt>
                <c:pt idx="2">
                  <c:v>0.03314229135518693</c:v>
                </c:pt>
                <c:pt idx="3">
                  <c:v>0.07441776225968975</c:v>
                </c:pt>
                <c:pt idx="4">
                  <c:v>0.03182103485416987</c:v>
                </c:pt>
                <c:pt idx="5">
                  <c:v>0.00161475777998203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80253557826799</c:v>
                </c:pt>
                <c:pt idx="3">
                  <c:v>0.019028149643200154</c:v>
                </c:pt>
                <c:pt idx="4">
                  <c:v>0.061196510411825826</c:v>
                </c:pt>
                <c:pt idx="5">
                  <c:v>0.0164096828523539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6501649426089343</c:v>
                </c:pt>
                <c:pt idx="4">
                  <c:v>0.018905904028114293</c:v>
                </c:pt>
                <c:pt idx="5">
                  <c:v>0.001546422266727503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8682469970345882</c:v>
                </c:pt>
                <c:pt idx="1">
                  <c:v>0.00987959652573544</c:v>
                </c:pt>
                <c:pt idx="2">
                  <c:v>0.001581137975210451</c:v>
                </c:pt>
                <c:pt idx="3">
                  <c:v>0.021037825072221326</c:v>
                </c:pt>
                <c:pt idx="4">
                  <c:v>0.02794511875511996</c:v>
                </c:pt>
                <c:pt idx="5">
                  <c:v>0.000976030110402092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28467978089494776</c:v>
                </c:pt>
                <c:pt idx="3">
                  <c:v>0.001832228985249577</c:v>
                </c:pt>
                <c:pt idx="4">
                  <c:v>0.004806538439918062</c:v>
                </c:pt>
                <c:pt idx="5">
                  <c:v>0.002732139120037946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3273946682750953</c:v>
                </c:pt>
                <c:pt idx="2">
                  <c:v>0.01691058974486465</c:v>
                </c:pt>
                <c:pt idx="3">
                  <c:v>0.009943216686776312</c:v>
                </c:pt>
                <c:pt idx="4">
                  <c:v>0.02074769023275164</c:v>
                </c:pt>
                <c:pt idx="5">
                  <c:v>0.0169509433726207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3735036368468147</c:v>
                </c:pt>
                <c:pt idx="2">
                  <c:v>0.004170661023724595</c:v>
                </c:pt>
                <c:pt idx="3">
                  <c:v>0.0238201779171636</c:v>
                </c:pt>
                <c:pt idx="4">
                  <c:v>0.05427767665756227</c:v>
                </c:pt>
                <c:pt idx="5">
                  <c:v>0.0053911986095205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8658240570478485</c:v>
                </c:pt>
                <c:pt idx="4">
                  <c:v>0.006708600744817362</c:v>
                </c:pt>
                <c:pt idx="5">
                  <c:v>0.00139570927521486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817300093635132</c:v>
                </c:pt>
                <c:pt idx="2">
                  <c:v>0.014415041177355759</c:v>
                </c:pt>
                <c:pt idx="3">
                  <c:v>0.017919810178050725</c:v>
                </c:pt>
                <c:pt idx="4">
                  <c:v>0.06915555223889361</c:v>
                </c:pt>
                <c:pt idx="5">
                  <c:v>0.0538085728805287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396316273959787</c:v>
                </c:pt>
                <c:pt idx="4">
                  <c:v>0.0008636449637984225</c:v>
                </c:pt>
                <c:pt idx="5">
                  <c:v>0.0122582479245509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2610666735166733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983468920060802</c:v>
                </c:pt>
                <c:pt idx="1">
                  <c:v>0.007387449635495408</c:v>
                </c:pt>
                <c:pt idx="2">
                  <c:v>0.031528225504342866</c:v>
                </c:pt>
                <c:pt idx="3">
                  <c:v>0.08004697219762526</c:v>
                </c:pt>
                <c:pt idx="4">
                  <c:v>0.03723117781516073</c:v>
                </c:pt>
                <c:pt idx="5">
                  <c:v>0.002227632295643478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9723392557594333</c:v>
                </c:pt>
                <c:pt idx="3">
                  <c:v>0.015956414358128466</c:v>
                </c:pt>
                <c:pt idx="4">
                  <c:v>0.06184835417177145</c:v>
                </c:pt>
                <c:pt idx="5">
                  <c:v>0.02134591353227923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640974592947153</c:v>
                </c:pt>
                <c:pt idx="4">
                  <c:v>0.017749038564447334</c:v>
                </c:pt>
                <c:pt idx="5">
                  <c:v>0.00264041216232077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612531659282514</c:v>
                </c:pt>
                <c:pt idx="1">
                  <c:v>0.009144575977012723</c:v>
                </c:pt>
                <c:pt idx="2">
                  <c:v>0.0021622901898100673</c:v>
                </c:pt>
                <c:pt idx="3">
                  <c:v>0.014983277323218287</c:v>
                </c:pt>
                <c:pt idx="4">
                  <c:v>0.026652613209967556</c:v>
                </c:pt>
                <c:pt idx="5">
                  <c:v>0.000823457692681008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5358993245097792</c:v>
                </c:pt>
                <c:pt idx="2">
                  <c:v>0.010553526322958896</c:v>
                </c:pt>
                <c:pt idx="3">
                  <c:v>0.010402256525732049</c:v>
                </c:pt>
                <c:pt idx="4">
                  <c:v>0.017894596242678102</c:v>
                </c:pt>
                <c:pt idx="5">
                  <c:v>0.00988759341990411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9941848042156875</c:v>
                </c:pt>
                <c:pt idx="2">
                  <c:v>0.004601124834037545</c:v>
                </c:pt>
                <c:pt idx="3">
                  <c:v>0.020866001812775516</c:v>
                </c:pt>
                <c:pt idx="4">
                  <c:v>0.037048004426264526</c:v>
                </c:pt>
                <c:pt idx="5">
                  <c:v>0.00397125394370770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2186022319968578</c:v>
                </c:pt>
                <c:pt idx="3">
                  <c:v>0.011824848124723661</c:v>
                </c:pt>
                <c:pt idx="4">
                  <c:v>0.01135087065800841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4575245525553756</c:v>
                </c:pt>
                <c:pt idx="4">
                  <c:v>0.005821519262896637</c:v>
                </c:pt>
                <c:pt idx="5">
                  <c:v>0.0016711109845752407</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7801908161162653</c:v>
                </c:pt>
                <c:pt idx="3">
                  <c:v>0.010125504534405458</c:v>
                </c:pt>
                <c:pt idx="4">
                  <c:v>0.03373808106953138</c:v>
                </c:pt>
                <c:pt idx="5">
                  <c:v>0.0346196394778291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127458227881496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88120543146747</c:v>
                </c:pt>
                <c:pt idx="1">
                  <c:v>0.00809930913013026</c:v>
                </c:pt>
                <c:pt idx="2">
                  <c:v>0.02622888489933886</c:v>
                </c:pt>
                <c:pt idx="3">
                  <c:v>0.052534333471527125</c:v>
                </c:pt>
                <c:pt idx="4">
                  <c:v>0.02245196604297683</c:v>
                </c:pt>
                <c:pt idx="5">
                  <c:v>0.001676952139865827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8387632405335855</c:v>
                </c:pt>
                <c:pt idx="3">
                  <c:v>0.013443973324453186</c:v>
                </c:pt>
                <c:pt idx="4">
                  <c:v>0.03994504696793553</c:v>
                </c:pt>
                <c:pt idx="5">
                  <c:v>0.0075656549885861814</c:v>
                </c:pt>
                <c:pt idx="6">
                  <c:v>0.0021118976473317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6457243384357988</c:v>
                </c:pt>
                <c:pt idx="4">
                  <c:v>0.012880916641283427</c:v>
                </c:pt>
                <c:pt idx="5">
                  <c:v>0.001393852518273313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11207161402717</c:v>
                </c:pt>
                <c:pt idx="2">
                  <c:v>0.0016466346757040555</c:v>
                </c:pt>
                <c:pt idx="3">
                  <c:v>0.032894324305395586</c:v>
                </c:pt>
                <c:pt idx="4">
                  <c:v>0.037100966933538135</c:v>
                </c:pt>
                <c:pt idx="5">
                  <c:v>0.001319206062756916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644989121223041</c:v>
                </c:pt>
                <c:pt idx="3">
                  <c:v>0.0017075224275874532</c:v>
                </c:pt>
                <c:pt idx="4">
                  <c:v>0.006308679819343283</c:v>
                </c:pt>
                <c:pt idx="5">
                  <c:v>0.00313466174943846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7728267579997107</c:v>
                </c:pt>
                <c:pt idx="1">
                  <c:v>0.02181663573331592</c:v>
                </c:pt>
                <c:pt idx="2">
                  <c:v>0.07308515312233878</c:v>
                </c:pt>
                <c:pt idx="3">
                  <c:v>0.1472370455400903</c:v>
                </c:pt>
                <c:pt idx="4">
                  <c:v>0.23487492592753692</c:v>
                </c:pt>
                <c:pt idx="5">
                  <c:v>0.0905635725932075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6490751229639497</c:v>
                </c:pt>
                <c:pt idx="2">
                  <c:v>0.003840420909758176</c:v>
                </c:pt>
                <c:pt idx="3">
                  <c:v>0.00241945041960825</c:v>
                </c:pt>
                <c:pt idx="4">
                  <c:v>0.0047133033280256625</c:v>
                </c:pt>
                <c:pt idx="5">
                  <c:v>0.000938778388119468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3471328328147713</c:v>
                </c:pt>
                <c:pt idx="4">
                  <c:v>0.000677679328887141</c:v>
                </c:pt>
                <c:pt idx="5">
                  <c:v>0.01286905257694461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776923928440062</c:v>
                </c:pt>
                <c:pt idx="3">
                  <c:v>0.006897829036550099</c:v>
                </c:pt>
                <c:pt idx="4">
                  <c:v>0.01023571622496680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3471328328147713</c:v>
                </c:pt>
                <c:pt idx="4">
                  <c:v>0.000677679328887141</c:v>
                </c:pt>
                <c:pt idx="5">
                  <c:v>0.01286905257694461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066579469046987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695392693924818</c:v>
                </c:pt>
                <c:pt idx="1">
                  <c:v>0.024931777694205192</c:v>
                </c:pt>
                <c:pt idx="2">
                  <c:v>0.07684228052777275</c:v>
                </c:pt>
                <c:pt idx="3">
                  <c:v>0.14832756593069152</c:v>
                </c:pt>
                <c:pt idx="4">
                  <c:v>0.261009489680587</c:v>
                </c:pt>
                <c:pt idx="5">
                  <c:v>0.102364672852913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0812154895849335</c:v>
                </c:pt>
                <c:pt idx="2">
                  <c:v>0.0053404629914445435</c:v>
                </c:pt>
                <c:pt idx="3">
                  <c:v>0.0006635302896854183</c:v>
                </c:pt>
                <c:pt idx="4">
                  <c:v>0.006641506121779015</c:v>
                </c:pt>
                <c:pt idx="5">
                  <c:v>0.00140489488263383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5386423245130147</c:v>
                </c:pt>
                <c:pt idx="4">
                  <c:v>0.0006018883960866584</c:v>
                </c:pt>
                <c:pt idx="5">
                  <c:v>0.01534437589850958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68612647561428</c:v>
                </c:pt>
                <c:pt idx="4">
                  <c:v>0.00917471257645994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31740785180218</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5358993245097792</c:v>
                </c:pt>
                <c:pt idx="2">
                  <c:v>0.003491020481048866</c:v>
                </c:pt>
                <c:pt idx="3">
                  <c:v>0.0015036105467993693</c:v>
                </c:pt>
                <c:pt idx="4">
                  <c:v>0.00534374856144325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396316273959787</c:v>
                </c:pt>
                <c:pt idx="4">
                  <c:v>0.0008636449637984225</c:v>
                </c:pt>
                <c:pt idx="5">
                  <c:v>0.0122582479245509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776923928440062</c:v>
                </c:pt>
                <c:pt idx="3">
                  <c:v>0.006897829036550099</c:v>
                </c:pt>
                <c:pt idx="4">
                  <c:v>0.01023571622496680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2186022319968578</c:v>
                </c:pt>
                <c:pt idx="3">
                  <c:v>0.011824848124723661</c:v>
                </c:pt>
                <c:pt idx="4">
                  <c:v>0.01135087065800841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55</c:v>
                </c:pt>
                <c:pt idx="1">
                  <c:v>0.07372302786498093</c:v>
                </c:pt>
                <c:pt idx="2">
                  <c:v>0.12766201692065168</c:v>
                </c:pt>
                <c:pt idx="3">
                  <c:v>0.23425237068395857</c:v>
                </c:pt>
                <c:pt idx="4">
                  <c:v>0.3827873306191499</c:v>
                </c:pt>
                <c:pt idx="5">
                  <c:v>0.15359411735454923</c:v>
                </c:pt>
                <c:pt idx="6">
                  <c:v>0.000860173150895575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7728267579997107</c:v>
                </c:pt>
                <c:pt idx="1">
                  <c:v>0.02181663573331592</c:v>
                </c:pt>
                <c:pt idx="2">
                  <c:v>0.07308515312233878</c:v>
                </c:pt>
                <c:pt idx="3">
                  <c:v>0.1472370455400903</c:v>
                </c:pt>
                <c:pt idx="4">
                  <c:v>0.23487492592753692</c:v>
                </c:pt>
                <c:pt idx="5">
                  <c:v>0.0905635725932075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7289708839215065</c:v>
                </c:pt>
                <c:pt idx="4">
                  <c:v>0.005882119108283293</c:v>
                </c:pt>
                <c:pt idx="5">
                  <c:v>0.00290594278606104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3471328328147713</c:v>
                </c:pt>
                <c:pt idx="4">
                  <c:v>0.000677679328887141</c:v>
                </c:pt>
                <c:pt idx="5">
                  <c:v>0.01286905257694461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2361176254265286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776923928440062</c:v>
                </c:pt>
                <c:pt idx="3">
                  <c:v>0.006897829036550099</c:v>
                </c:pt>
                <c:pt idx="4">
                  <c:v>0.01023571622496680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45</c:v>
                </c:pt>
                <c:pt idx="1">
                  <c:v>0.06993622107254861</c:v>
                </c:pt>
                <c:pt idx="2">
                  <c:v>0.12263839292931009</c:v>
                </c:pt>
                <c:pt idx="3">
                  <c:v>0.22587718069519327</c:v>
                </c:pt>
                <c:pt idx="4">
                  <c:v>0.3926880605000298</c:v>
                </c:pt>
                <c:pt idx="5">
                  <c:v>0.1595797986394480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695392693924818</c:v>
                </c:pt>
                <c:pt idx="1">
                  <c:v>0.024931777694205192</c:v>
                </c:pt>
                <c:pt idx="2">
                  <c:v>0.07684228052777275</c:v>
                </c:pt>
                <c:pt idx="3">
                  <c:v>0.14832756593069152</c:v>
                </c:pt>
                <c:pt idx="4">
                  <c:v>0.261009489680587</c:v>
                </c:pt>
                <c:pt idx="5">
                  <c:v>0.102364672852913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8658240570478485</c:v>
                </c:pt>
                <c:pt idx="4">
                  <c:v>0.006708600744817362</c:v>
                </c:pt>
                <c:pt idx="5">
                  <c:v>0.00400637601038159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5386423245130147</c:v>
                </c:pt>
                <c:pt idx="4">
                  <c:v>0.0006018883960866584</c:v>
                </c:pt>
                <c:pt idx="5">
                  <c:v>0.01534437589850958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3004906341777089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468612647561428</c:v>
                </c:pt>
                <c:pt idx="4">
                  <c:v>0.00917471257645994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4</c:v>
                </c:pt>
                <c:pt idx="1">
                  <c:v>0.08802916312742416</c:v>
                </c:pt>
                <c:pt idx="2">
                  <c:v>0.14284168638962266</c:v>
                </c:pt>
                <c:pt idx="3">
                  <c:v>0.22197384656282373</c:v>
                </c:pt>
                <c:pt idx="4">
                  <c:v>0.36551887254863047</c:v>
                </c:pt>
                <c:pt idx="5">
                  <c:v>0.14852370482779084</c:v>
                </c:pt>
                <c:pt idx="6">
                  <c:v>0.003890799719049167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9807835260923458</c:v>
                </c:pt>
                <c:pt idx="1">
                  <c:v>0.014754686519320737</c:v>
                </c:pt>
                <c:pt idx="2">
                  <c:v>0.05602971048977618</c:v>
                </c:pt>
                <c:pt idx="3">
                  <c:v>0.10801779400732914</c:v>
                </c:pt>
                <c:pt idx="4">
                  <c:v>0.16395861139066978</c:v>
                </c:pt>
                <c:pt idx="5">
                  <c:v>0.05911494648816627</c:v>
                </c:pt>
                <c:pt idx="6">
                  <c:v>0.002132297294374809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4575245525553756</c:v>
                </c:pt>
                <c:pt idx="4">
                  <c:v>0.005821519262896637</c:v>
                </c:pt>
                <c:pt idx="5">
                  <c:v>0.002945693263390204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396316273959787</c:v>
                </c:pt>
                <c:pt idx="4">
                  <c:v>0.0008636449637984225</c:v>
                </c:pt>
                <c:pt idx="5">
                  <c:v>0.0122582479245509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3037333268464757</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2186022319968578</c:v>
                </c:pt>
                <c:pt idx="3">
                  <c:v>0.011824848124723661</c:v>
                </c:pt>
                <c:pt idx="4">
                  <c:v>0.01135087065800841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05035618562984093</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9545603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4243973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8385930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5214684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7064032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5242593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423076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0575152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9847765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31861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014814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5264286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4324620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2787921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6215936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5624368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8853997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6095234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1393776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8080513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4270096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2362692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4019577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49390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1356400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4972513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7445785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91</Words>
  <Application>Microsoft Office PowerPoint</Application>
  <PresentationFormat>On-screen Show (16:9)</PresentationFormat>
  <Paragraphs>1053</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2:4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